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683" r:id="rId5"/>
  </p:sldMasterIdLst>
  <p:notesMasterIdLst>
    <p:notesMasterId r:id="rId7"/>
  </p:notesMasterIdLst>
  <p:sldIdLst>
    <p:sldId id="1802" r:id="rId6"/>
  </p:sldIdLst>
  <p:sldSz cx="9906000" cy="6858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7A8CBFF-2C98-4C0B-80BE-02253EEE2A33}" v="7" dt="2025-05-09T05:58:22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1464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082" y="0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r">
              <a:defRPr sz="1200"/>
            </a:lvl1pPr>
          </a:lstStyle>
          <a:p>
            <a:fld id="{17837479-F167-46A9-91DE-D29DC0E07EEF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9" tIns="45779" rIns="91559" bIns="45779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403" y="4782900"/>
            <a:ext cx="5446396" cy="3913425"/>
          </a:xfrm>
          <a:prstGeom prst="rect">
            <a:avLst/>
          </a:prstGeom>
        </p:spPr>
        <p:txBody>
          <a:bodyPr vert="horz" lIns="91559" tIns="45779" rIns="91559" bIns="45779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1814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082" y="9441814"/>
            <a:ext cx="2950529" cy="497524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r">
              <a:defRPr sz="1200"/>
            </a:lvl1pPr>
          </a:lstStyle>
          <a:p>
            <a:fld id="{5A09B3C7-3239-4625-8436-E6A709F012B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66363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2">
              <a:alpha val="40000"/>
            </a:schemeClr>
          </a:solidFill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6376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B560C01-06A1-A163-D5BA-E32CF5899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F42E7C34-522B-0110-F057-013D5CBFB2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8CB8276-2F02-86AA-4761-DEBD748E7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5BDB391A-E4F3-16FE-0DB7-841361CCB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8F9B42A-EDA7-6410-5551-5CE3C2172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7090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4B08F37-66A6-7609-93B4-C672F569BF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7FA8512-50F2-E102-C554-6D300C5ED0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C59C3A24-C601-DD85-C23B-C05FA645EE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5ABA329-96A0-CB63-EFE5-0654FC68B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D897446-E052-D845-5C19-9E5932917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3DE5295-93B3-6EF7-C4E3-AB9786089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96936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B545AC2-4C8F-2861-A9C8-BF01F1365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57AEEFB-014D-05BB-4AF6-6B668CCEA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EA30470D-EFB2-CA9B-B124-4B1E65FE5D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882CE0DF-012A-6BD8-CC58-2E0EA91375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A3C3C357-0157-23E6-A181-CD77B66DA1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1E2ACD90-711E-2946-DC15-35A0684D2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C7E1B447-53AF-219C-7A27-884C303E2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10C5A81E-5539-11E4-977C-2B6706255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885100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8746C8-549D-EB75-5EC3-98E3C59C6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C4D69DA2-213D-6BD3-DA5F-E7F836752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E421E2FD-94F6-E6B3-6438-0BC417693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C01B44B2-3403-790E-2575-2373BA4B4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760046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D0EF4A14-9697-756C-DE1E-23F55F519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41887799-4FDD-55FD-05C8-06427FEA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14E043EA-6CA2-0360-EB86-AA459F2041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079250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583AB58-2E83-6A33-C3ED-21ADA5259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267324E4-88FE-FCF6-D8A8-A74D1412B5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6957D19-F7C3-002F-93DD-626C828A77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196D689F-5BE9-4036-BE9D-E5A303F35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0AEA9A97-31BB-681B-B611-84B0DC1218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C942E953-695D-0D38-9E79-9E350761F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53728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EACF9D-D1B3-532E-9BDF-C61331A6B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8BD5ACE6-9B17-FF3C-20F8-1156B0B629A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7FACCC17-C86E-83A3-27CC-80DC220F9E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53ABD50C-C609-8025-4856-9AA643B33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2855E51-BD1E-489A-3A81-F33D06A43E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EEA793E5-2704-4559-EDA4-08584095A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2945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B610385-3531-8BEB-FA75-B135E9EEC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367CE8E6-977A-9F3A-D91D-2C018B381B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37BDE191-EB0C-9956-4675-7B7C938DAA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B2469FB-AB60-FDD6-2951-D09C3598D1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19C0293-4FCA-EF66-ACEC-66EF66AE7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98233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50FD8AE1-8568-4FCF-3859-B71EC480335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2679ED7F-5894-DEB0-35E7-EDF0A5FDB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BBBEB66-3EF9-8911-3982-D9A96C225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8285B19-61AD-7DFC-FEC9-E2B76284F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40B56F2-A782-F5D3-AE71-4C70FCD49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3834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6">
              <a:lumMod val="40000"/>
              <a:lumOff val="60000"/>
              <a:alpha val="40000"/>
            </a:schemeClr>
          </a:solidFill>
          <a:ln w="9525"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3084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7000" y="2060576"/>
            <a:ext cx="8892000" cy="4105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6FB90E-F37C-5341-AEB0-5E882FB00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000" y="404813"/>
            <a:ext cx="8892000" cy="13684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727287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C116CF-C359-0344-A999-AE9F54D6B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4204234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テキスト プレースホルダー 10">
            <a:extLst>
              <a:ext uri="{FF2B5EF4-FFF2-40B4-BE49-F238E27FC236}">
                <a16:creationId xmlns:a16="http://schemas.microsoft.com/office/drawing/2014/main" id="{3B05E39B-8BE4-42A3-9767-1A31E82336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0532" y="2636912"/>
            <a:ext cx="7956884" cy="432046"/>
          </a:xfrm>
        </p:spPr>
        <p:txBody>
          <a:bodyPr/>
          <a:lstStyle>
            <a:lvl1pPr>
              <a:spcAft>
                <a:spcPts val="600"/>
              </a:spcAft>
              <a:defRPr sz="240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927317A-4728-4709-9304-87479DCCF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524" y="3068959"/>
            <a:ext cx="5304589" cy="22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20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9660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236496" y="6593400"/>
            <a:ext cx="180000" cy="169200"/>
          </a:xfrm>
        </p:spPr>
        <p:txBody>
          <a:bodyPr anchor="ctr"/>
          <a:lstStyle>
            <a:lvl1pPr>
              <a:defRPr sz="105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defRPr>
            </a:lvl1pPr>
          </a:lstStyle>
          <a:p>
            <a:pPr marL="0" marR="0" lvl="0" indent="0" algn="l" defTabSz="457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3A0986-838B-4D2A-A95C-8CB1738263FE}" type="slidenum">
              <a:rPr kumimoji="0" lang="ja-JP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rPr>
              <a:pPr marL="0" marR="0" lvl="0" indent="0" algn="l" defTabSz="457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ja-JP" alt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  <a:sym typeface="+mn-lt"/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499242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F568ACA-D2E4-4482-2BD9-DAB7633D8C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7843FB25-6DB9-5AE9-EBA6-99776168CC5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413F7680-3B70-9DD4-230A-80D58E0EE3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6AB1268-44E9-715B-7017-C48D9593C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1D6E6843-8558-B6BE-AA8D-3DCEC0D70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91243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2AE054-FE86-8B86-CAF4-1905404935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B6B280EA-5C0F-D77A-2D91-FA8F3FC15B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BC566547-7CC3-ADF8-FA2B-F8EA9CEA2B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7F222A2C-79C8-D182-11D8-2635CA01B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DF8E54A-E949-FF7E-E2BB-B219724852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111291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6662" y="404813"/>
            <a:ext cx="8892000" cy="1368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2060576"/>
            <a:ext cx="8892000" cy="4105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587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255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3884">
          <p15:clr>
            <a:srgbClr val="A4A3A4"/>
          </p15:clr>
        </p15:guide>
        <p15:guide id="7" pos="5465">
          <p15:clr>
            <a:srgbClr val="A4A3A4"/>
          </p15:clr>
        </p15:guide>
        <p15:guide id="8" pos="1882">
          <p15:clr>
            <a:srgbClr val="A4A3A4"/>
          </p15:clr>
        </p15:guide>
        <p15:guide id="9" pos="2064">
          <p15:clr>
            <a:srgbClr val="A4A3A4"/>
          </p15:clr>
        </p15:guide>
        <p15:guide id="10" pos="3878">
          <p15:clr>
            <a:srgbClr val="A4A3A4"/>
          </p15:clr>
        </p15:guide>
        <p15:guide id="11" pos="3696">
          <p15:clr>
            <a:srgbClr val="A4A3A4"/>
          </p15:clr>
        </p15:guide>
        <p15:guide id="12" pos="2789">
          <p15:clr>
            <a:srgbClr val="A4A3A4"/>
          </p15:clr>
        </p15:guide>
        <p15:guide id="13" pos="2880">
          <p15:clr>
            <a:srgbClr val="A4A3A4"/>
          </p15:clr>
        </p15:guide>
        <p15:guide id="14" pos="297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5787EE09-3D89-263E-08F5-13547C520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BBAED035-9903-74BC-40A8-C3ED6799E5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79686E18-FAF3-EBDD-CD59-E12562EC46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44AB3D-1057-4AB6-87D1-2B0FE264E624}" type="datetimeFigureOut">
              <a:rPr kumimoji="1" lang="ja-JP" altLang="en-US" smtClean="0"/>
              <a:t>2025/6/1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3B70AA6-1029-6E2A-B8DD-69108B0BAD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912B663-594D-AD94-FA51-FA6C03E215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E9E1F6-2607-4AAE-8E6D-B723F1D5F34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92513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740BA51-ED12-9398-0D70-8BBF431614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/>
          <a:p>
            <a:r>
              <a:rPr lang="ja-JP" altLang="en-US" dirty="0"/>
              <a:t>事業概要</a:t>
            </a:r>
            <a:r>
              <a:rPr lang="en-US" altLang="ja-JP" dirty="0"/>
              <a:t>【</a:t>
            </a:r>
            <a:r>
              <a:rPr lang="ja-JP" altLang="en-US" dirty="0"/>
              <a:t>空⾶ぶクルマ都市型ビジネス創造都市推進事業</a:t>
            </a:r>
            <a:r>
              <a:rPr lang="en-US" altLang="ja-JP" dirty="0"/>
              <a:t>】</a:t>
            </a:r>
            <a:endParaRPr lang="ja-JP" altLang="en-US" dirty="0"/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55AF216C-10D9-4280-9949-48DDE6B30C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337012"/>
              </p:ext>
            </p:extLst>
          </p:nvPr>
        </p:nvGraphicFramePr>
        <p:xfrm>
          <a:off x="138486" y="780069"/>
          <a:ext cx="9602673" cy="599345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8522">
                  <a:extLst>
                    <a:ext uri="{9D8B030D-6E8A-4147-A177-3AD203B41FA5}">
                      <a16:colId xmlns:a16="http://schemas.microsoft.com/office/drawing/2014/main" val="1574572698"/>
                    </a:ext>
                  </a:extLst>
                </a:gridCol>
                <a:gridCol w="789492">
                  <a:extLst>
                    <a:ext uri="{9D8B030D-6E8A-4147-A177-3AD203B41FA5}">
                      <a16:colId xmlns:a16="http://schemas.microsoft.com/office/drawing/2014/main" val="3623488850"/>
                    </a:ext>
                  </a:extLst>
                </a:gridCol>
                <a:gridCol w="524294">
                  <a:extLst>
                    <a:ext uri="{9D8B030D-6E8A-4147-A177-3AD203B41FA5}">
                      <a16:colId xmlns:a16="http://schemas.microsoft.com/office/drawing/2014/main" val="3428141043"/>
                    </a:ext>
                  </a:extLst>
                </a:gridCol>
                <a:gridCol w="706014">
                  <a:extLst>
                    <a:ext uri="{9D8B030D-6E8A-4147-A177-3AD203B41FA5}">
                      <a16:colId xmlns:a16="http://schemas.microsoft.com/office/drawing/2014/main" val="3266286335"/>
                    </a:ext>
                  </a:extLst>
                </a:gridCol>
                <a:gridCol w="523936">
                  <a:extLst>
                    <a:ext uri="{9D8B030D-6E8A-4147-A177-3AD203B41FA5}">
                      <a16:colId xmlns:a16="http://schemas.microsoft.com/office/drawing/2014/main" val="281497586"/>
                    </a:ext>
                  </a:extLst>
                </a:gridCol>
                <a:gridCol w="706014">
                  <a:extLst>
                    <a:ext uri="{9D8B030D-6E8A-4147-A177-3AD203B41FA5}">
                      <a16:colId xmlns:a16="http://schemas.microsoft.com/office/drawing/2014/main" val="780657523"/>
                    </a:ext>
                  </a:extLst>
                </a:gridCol>
                <a:gridCol w="523936">
                  <a:extLst>
                    <a:ext uri="{9D8B030D-6E8A-4147-A177-3AD203B41FA5}">
                      <a16:colId xmlns:a16="http://schemas.microsoft.com/office/drawing/2014/main" val="3861910546"/>
                    </a:ext>
                  </a:extLst>
                </a:gridCol>
                <a:gridCol w="505706">
                  <a:extLst>
                    <a:ext uri="{9D8B030D-6E8A-4147-A177-3AD203B41FA5}">
                      <a16:colId xmlns:a16="http://schemas.microsoft.com/office/drawing/2014/main" val="48331999"/>
                    </a:ext>
                  </a:extLst>
                </a:gridCol>
                <a:gridCol w="603504">
                  <a:extLst>
                    <a:ext uri="{9D8B030D-6E8A-4147-A177-3AD203B41FA5}">
                      <a16:colId xmlns:a16="http://schemas.microsoft.com/office/drawing/2014/main" val="876268225"/>
                    </a:ext>
                  </a:extLst>
                </a:gridCol>
                <a:gridCol w="702782">
                  <a:extLst>
                    <a:ext uri="{9D8B030D-6E8A-4147-A177-3AD203B41FA5}">
                      <a16:colId xmlns:a16="http://schemas.microsoft.com/office/drawing/2014/main" val="3168901572"/>
                    </a:ext>
                  </a:extLst>
                </a:gridCol>
                <a:gridCol w="2948473">
                  <a:extLst>
                    <a:ext uri="{9D8B030D-6E8A-4147-A177-3AD203B41FA5}">
                      <a16:colId xmlns:a16="http://schemas.microsoft.com/office/drawing/2014/main" val="3758133616"/>
                    </a:ext>
                  </a:extLst>
                </a:gridCol>
              </a:tblGrid>
              <a:tr h="30564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申請者</a:t>
                      </a:r>
                      <a:endParaRPr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大阪府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初回採択回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令和７年度第１回募集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令和７年度第１回募集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2898722"/>
                  </a:ext>
                </a:extLst>
              </a:tr>
              <a:tr h="4838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計画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/>
                          <a:ea typeface="Meiryo UI"/>
                        </a:rPr>
                        <a:t>R7-R9</a:t>
                      </a:r>
                      <a:r>
                        <a:rPr kumimoji="1" lang="ja-JP" altLang="en-US" sz="1400" dirty="0">
                          <a:latin typeface="Meiryo UI"/>
                          <a:ea typeface="Meiryo UI"/>
                        </a:rPr>
                        <a:t>年度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中の総事業費</a:t>
                      </a:r>
                      <a:endParaRPr kumimoji="1" lang="en-US" altLang="ja-JP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カッコ内は</a:t>
                      </a:r>
                      <a:r>
                        <a:rPr kumimoji="1" lang="en-US" altLang="ja-JP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7</a:t>
                      </a:r>
                      <a:r>
                        <a:rPr kumimoji="1" lang="ja-JP" altLang="en-US" sz="9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年度事業費）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80,000</a:t>
                      </a: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（</a:t>
                      </a:r>
                      <a:r>
                        <a:rPr kumimoji="1" lang="en-US" altLang="ja-JP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6,000</a:t>
                      </a: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,382,002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</a:t>
                      </a: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62,002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）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1150482"/>
                  </a:ext>
                </a:extLst>
              </a:tr>
              <a:tr h="40395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経費の類型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ソフト</a:t>
                      </a:r>
                      <a:endParaRPr kumimoji="1" lang="en-US" altLang="ja-JP" sz="105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✓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拠点整備事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spc="-8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インフラ</a:t>
                      </a:r>
                      <a:endParaRPr kumimoji="1" lang="en-US" altLang="ja-JP" sz="1050" spc="-80" baseline="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spc="-80" baseline="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整備事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分野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観光分野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ローカルイノベーション分野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406978"/>
                  </a:ext>
                </a:extLst>
              </a:tr>
              <a:tr h="113704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目的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効果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6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空⾶ぶクルマについて、観光分野をはじめとしたビジネス化に取り組むとともに、関西一円での運航ネットワークを形成することで、新たなサービスやビジネス創出を図り、大阪産業の成長につなげていく</a:t>
                      </a:r>
                      <a:endParaRPr lang="en-US" altLang="ja-JP" sz="16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endParaRPr kumimoji="1" lang="en-US" altLang="ja-JP" sz="1400" b="0" i="0" u="none" strike="noStrike" kern="1200" baseline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3888693"/>
                  </a:ext>
                </a:extLst>
              </a:tr>
              <a:tr h="2425666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事業概要・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主な経費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経費内訳は</a:t>
                      </a: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R7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年度事業費</a:t>
                      </a:r>
                      <a:endParaRPr kumimoji="1" lang="en-US" altLang="ja-JP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【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空飛ぶクルマ拠点実装支援事業補助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】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60,042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05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運航業務の検証等の取組みに係る経費の一部を補助</a:t>
                      </a: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補助率：事業費の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／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以内</a:t>
                      </a: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補助上限額：上限　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30,000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</a:p>
                    <a:p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【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空飛ぶクルマビジネス創造都市情報発信事業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】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1,783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05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府におけるポテンシャルを国内外に情報発信</a:t>
                      </a: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ビジネス向けイベントの開催</a:t>
                      </a: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国内外の展示会や国際会議での発信</a:t>
                      </a:r>
                      <a:endParaRPr lang="en-US" altLang="ja-JP" sz="105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【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空飛ぶクルマ観光魅力促進事業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】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380,177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大阪での観光ビジネスの展開に向けて、観光分野におけるビジネスモデルの構築や、観光商品開発への支援等を実施</a:t>
                      </a: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観光商品開発に向けた事業性調査、モニタリング調査</a:t>
                      </a: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大阪の観光商品の開発促進につなげる取組みに対する補助　　　　　　　　　　　　　　　　　</a:t>
                      </a:r>
                    </a:p>
                    <a:p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・補助率：事業費の</a:t>
                      </a:r>
                      <a:r>
                        <a:rPr lang="en-US" altLang="ja-JP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/2</a:t>
                      </a:r>
                      <a:r>
                        <a:rPr lang="ja-JP" altLang="en-US" sz="105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以内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体制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rowSpan="2"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7494687"/>
                  </a:ext>
                </a:extLst>
              </a:tr>
              <a:tr h="119545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/>
                          <a:ea typeface="Meiryo UI"/>
                          <a:cs typeface="+mn-cs"/>
                        </a:rPr>
                        <a:t>KPI</a:t>
                      </a:r>
                      <a:endParaRPr kumimoji="1" lang="en-US" altLang="ja-JP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※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カッコ内の数値は最終事業年度までの「</a:t>
                      </a:r>
                      <a: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KPI</a:t>
                      </a: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増加分の累計」の目標値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①ビジネスを展開する事業者数（＋</a:t>
                      </a:r>
                      <a:r>
                        <a:rPr kumimoji="1" lang="en-US" altLang="ja-JP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</a:t>
                      </a: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件）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②離着陸場の整備件数（＋</a:t>
                      </a:r>
                      <a:r>
                        <a:rPr kumimoji="1" lang="en-US" altLang="ja-JP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</a:t>
                      </a: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件）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③大阪ラウンドテーブル参画事業者数（＋</a:t>
                      </a:r>
                      <a:r>
                        <a:rPr kumimoji="1" lang="en-US" altLang="ja-JP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9</a:t>
                      </a: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者）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④観光商品の開発件数（＋</a:t>
                      </a:r>
                      <a:r>
                        <a:rPr kumimoji="1" lang="en-US" altLang="ja-JP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2</a:t>
                      </a: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件）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 sz="140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7952532"/>
                  </a:ext>
                </a:extLst>
              </a:tr>
            </a:tbl>
          </a:graphicData>
        </a:graphic>
      </p:graphicFrame>
      <p:cxnSp>
        <p:nvCxnSpPr>
          <p:cNvPr id="11" name="直線コネクタ 10">
            <a:extLst>
              <a:ext uri="{FF2B5EF4-FFF2-40B4-BE49-F238E27FC236}">
                <a16:creationId xmlns:a16="http://schemas.microsoft.com/office/drawing/2014/main" id="{7F31CE3A-B8FA-4FAC-B3FE-64C10692D98D}"/>
              </a:ext>
            </a:extLst>
          </p:cNvPr>
          <p:cNvCxnSpPr>
            <a:cxnSpLocks/>
          </p:cNvCxnSpPr>
          <p:nvPr/>
        </p:nvCxnSpPr>
        <p:spPr>
          <a:xfrm>
            <a:off x="6703783" y="3362473"/>
            <a:ext cx="0" cy="567823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aphicFrame>
        <p:nvGraphicFramePr>
          <p:cNvPr id="20" name="表 45">
            <a:extLst>
              <a:ext uri="{FF2B5EF4-FFF2-40B4-BE49-F238E27FC236}">
                <a16:creationId xmlns:a16="http://schemas.microsoft.com/office/drawing/2014/main" id="{7B34BCB2-07BF-4842-99FA-B0E468A13E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98167"/>
              </p:ext>
            </p:extLst>
          </p:nvPr>
        </p:nvGraphicFramePr>
        <p:xfrm>
          <a:off x="6184885" y="4933734"/>
          <a:ext cx="3458629" cy="17282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921581">
                  <a:extLst>
                    <a:ext uri="{9D8B030D-6E8A-4147-A177-3AD203B41FA5}">
                      <a16:colId xmlns:a16="http://schemas.microsoft.com/office/drawing/2014/main" val="2758442477"/>
                    </a:ext>
                  </a:extLst>
                </a:gridCol>
                <a:gridCol w="2537048">
                  <a:extLst>
                    <a:ext uri="{9D8B030D-6E8A-4147-A177-3AD203B41FA5}">
                      <a16:colId xmlns:a16="http://schemas.microsoft.com/office/drawing/2014/main" val="3363882439"/>
                    </a:ext>
                  </a:extLst>
                </a:gridCol>
              </a:tblGrid>
              <a:tr h="24297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役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63738176"/>
                  </a:ext>
                </a:extLst>
              </a:tr>
              <a:tr h="39760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託事業者</a:t>
                      </a:r>
                    </a:p>
                  </a:txBody>
                  <a:tcPr marL="18000" marR="18000" marT="36000" marB="36000" anchor="ctr"/>
                </a:tc>
                <a:tc>
                  <a:txBody>
                    <a:bodyPr/>
                    <a:lstStyle/>
                    <a:p>
                      <a:r>
                        <a:rPr lang="ja-JP" altLang="en-US" sz="10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委託契約に基づく事業（情報発信、観光でのビジネス展開に向けた調査・実証）の実施。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487261463"/>
                  </a:ext>
                </a:extLst>
              </a:tr>
              <a:tr h="397600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補助事業者</a:t>
                      </a:r>
                    </a:p>
                  </a:txBody>
                  <a:tcPr marL="18000" marR="18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府補助金を活用した事業（運航業務等の検証、観光商品開発促進への取組 等）の実施。</a:t>
                      </a:r>
                      <a:endParaRPr kumimoji="1" lang="ja-JP" altLang="en-US" sz="10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3034477678"/>
                  </a:ext>
                </a:extLst>
              </a:tr>
              <a:tr h="242978">
                <a:tc>
                  <a:txBody>
                    <a:bodyPr/>
                    <a:lstStyle/>
                    <a:p>
                      <a:pPr algn="dist"/>
                      <a:r>
                        <a:rPr kumimoji="1" lang="ja-JP" altLang="en-US" sz="10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空の移動革命</a:t>
                      </a:r>
                      <a:endParaRPr kumimoji="1" lang="en-US" altLang="ja-JP" sz="1000" i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dist"/>
                      <a:r>
                        <a:rPr kumimoji="1" lang="ja-JP" altLang="en-US" sz="10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社会実装</a:t>
                      </a:r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大阪</a:t>
                      </a:r>
                      <a:endParaRPr kumimoji="1" lang="en-US" altLang="ja-JP" sz="10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dist"/>
                      <a:r>
                        <a:rPr kumimoji="1" lang="ja-JP" altLang="en-US" sz="10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ラウンドテーブル</a:t>
                      </a:r>
                    </a:p>
                  </a:txBody>
                  <a:tcPr marL="18000" marR="18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空飛ぶクルマのビジネス化を見据えた民間企業や教育機関、関係省庁等が参画。</a:t>
                      </a:r>
                      <a:endParaRPr kumimoji="1" lang="en-US" altLang="ja-JP" sz="1000" i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i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府事業の進捗を報告するとともに、様々な領域の専門意見を集約し、府の施策へ反映。</a:t>
                      </a:r>
                      <a:endParaRPr kumimoji="1" lang="en-US" altLang="ja-JP" sz="10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959543515"/>
                  </a:ext>
                </a:extLst>
              </a:tr>
            </a:tbl>
          </a:graphicData>
        </a:graphic>
      </p:graphicFrame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BA92659E-914D-4148-A3D9-0E03B199FEB8}"/>
              </a:ext>
            </a:extLst>
          </p:cNvPr>
          <p:cNvSpPr/>
          <p:nvPr/>
        </p:nvSpPr>
        <p:spPr>
          <a:xfrm>
            <a:off x="6351402" y="4505637"/>
            <a:ext cx="3073975" cy="35653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空の移動革命社会実装大阪ラウンドテーブル</a:t>
            </a:r>
            <a:br>
              <a:rPr kumimoji="1" lang="en-US" altLang="ja-JP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9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参画者：</a:t>
            </a:r>
            <a:r>
              <a:rPr kumimoji="1" lang="ja-JP" altLang="en-US" sz="900" i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民間企業</a:t>
            </a:r>
            <a:r>
              <a:rPr kumimoji="1" lang="ja-JP" altLang="en-US" sz="9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、</a:t>
            </a:r>
            <a:r>
              <a:rPr kumimoji="1" lang="ja-JP" altLang="en-US" sz="900" i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教育機関、関係省庁等</a:t>
            </a:r>
            <a:r>
              <a:rPr kumimoji="1" lang="ja-JP" altLang="en-US" sz="9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）</a:t>
            </a:r>
            <a:endParaRPr kumimoji="1" lang="ja-JP" altLang="en-US" sz="10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39E6E923-3BAC-4B19-A636-9BC278DBD5B1}"/>
              </a:ext>
            </a:extLst>
          </p:cNvPr>
          <p:cNvSpPr/>
          <p:nvPr/>
        </p:nvSpPr>
        <p:spPr>
          <a:xfrm>
            <a:off x="6351402" y="3232815"/>
            <a:ext cx="3073976" cy="27204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大阪府</a:t>
            </a: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C4ABCE87-90DA-45CF-BF3B-F965E495E304}"/>
              </a:ext>
            </a:extLst>
          </p:cNvPr>
          <p:cNvSpPr txBox="1"/>
          <p:nvPr/>
        </p:nvSpPr>
        <p:spPr bwMode="gray">
          <a:xfrm>
            <a:off x="6445430" y="3385171"/>
            <a:ext cx="540000" cy="194756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kumimoji="1" lang="ja-JP" altLang="en-US" sz="9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委託事業</a:t>
            </a:r>
            <a:endParaRPr kumimoji="1" lang="en-US" altLang="ja-JP" sz="9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1" name="直線コネクタ 30">
            <a:extLst>
              <a:ext uri="{FF2B5EF4-FFF2-40B4-BE49-F238E27FC236}">
                <a16:creationId xmlns:a16="http://schemas.microsoft.com/office/drawing/2014/main" id="{377DCEC1-6D38-4210-BF71-0EEB05E8BD59}"/>
              </a:ext>
            </a:extLst>
          </p:cNvPr>
          <p:cNvCxnSpPr>
            <a:cxnSpLocks/>
          </p:cNvCxnSpPr>
          <p:nvPr/>
        </p:nvCxnSpPr>
        <p:spPr>
          <a:xfrm>
            <a:off x="6708788" y="3939100"/>
            <a:ext cx="0" cy="567823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25B62D08-3B7F-41EA-B84D-5674EA04F56A}"/>
              </a:ext>
            </a:extLst>
          </p:cNvPr>
          <p:cNvSpPr/>
          <p:nvPr/>
        </p:nvSpPr>
        <p:spPr>
          <a:xfrm>
            <a:off x="6351403" y="3930296"/>
            <a:ext cx="720000" cy="23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受託事業者</a:t>
            </a:r>
            <a:endParaRPr kumimoji="1" lang="en-US" altLang="ja-JP" sz="10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946A70F1-9332-4587-B8BA-1CFA643648B2}"/>
              </a:ext>
            </a:extLst>
          </p:cNvPr>
          <p:cNvSpPr/>
          <p:nvPr/>
        </p:nvSpPr>
        <p:spPr>
          <a:xfrm>
            <a:off x="6672245" y="3635735"/>
            <a:ext cx="720000" cy="23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委託契約</a:t>
            </a:r>
            <a:endParaRPr kumimoji="1"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F5439D58-EBE0-42D8-8DB4-A48AA7F8D8D7}"/>
              </a:ext>
            </a:extLst>
          </p:cNvPr>
          <p:cNvSpPr/>
          <p:nvPr/>
        </p:nvSpPr>
        <p:spPr>
          <a:xfrm>
            <a:off x="6666163" y="4193882"/>
            <a:ext cx="720000" cy="23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進捗報告</a:t>
            </a:r>
            <a:endParaRPr kumimoji="1"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矢印: 上 8">
            <a:extLst>
              <a:ext uri="{FF2B5EF4-FFF2-40B4-BE49-F238E27FC236}">
                <a16:creationId xmlns:a16="http://schemas.microsoft.com/office/drawing/2014/main" id="{F9CEA953-0EE2-4ADF-8253-A82C757FEAB2}"/>
              </a:ext>
            </a:extLst>
          </p:cNvPr>
          <p:cNvSpPr/>
          <p:nvPr/>
        </p:nvSpPr>
        <p:spPr bwMode="gray">
          <a:xfrm>
            <a:off x="7771150" y="3517200"/>
            <a:ext cx="288000" cy="972000"/>
          </a:xfrm>
          <a:prstGeom prst="upArrow">
            <a:avLst/>
          </a:prstGeom>
          <a:solidFill>
            <a:schemeClr val="bg2">
              <a:lumMod val="50000"/>
            </a:schemeClr>
          </a:solidFill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 dirty="0">
              <a:solidFill>
                <a:schemeClr val="tx1"/>
              </a:solidFill>
            </a:endParaRPr>
          </a:p>
        </p:txBody>
      </p:sp>
      <p:sp>
        <p:nvSpPr>
          <p:cNvPr id="37" name="四角形: 角を丸くする 36">
            <a:extLst>
              <a:ext uri="{FF2B5EF4-FFF2-40B4-BE49-F238E27FC236}">
                <a16:creationId xmlns:a16="http://schemas.microsoft.com/office/drawing/2014/main" id="{CC298361-4A1D-463C-91DA-C98558BF3931}"/>
              </a:ext>
            </a:extLst>
          </p:cNvPr>
          <p:cNvSpPr/>
          <p:nvPr/>
        </p:nvSpPr>
        <p:spPr bwMode="gray">
          <a:xfrm>
            <a:off x="7285951" y="3864134"/>
            <a:ext cx="1294256" cy="321816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専門意見の集約、</a:t>
            </a:r>
            <a:endParaRPr kumimoji="1"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府の施策への反映</a:t>
            </a:r>
            <a:endParaRPr kumimoji="1"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A9558379-7766-4B7C-B9F4-CEF457CBFE89}"/>
              </a:ext>
            </a:extLst>
          </p:cNvPr>
          <p:cNvCxnSpPr>
            <a:cxnSpLocks/>
          </p:cNvCxnSpPr>
          <p:nvPr/>
        </p:nvCxnSpPr>
        <p:spPr>
          <a:xfrm>
            <a:off x="9062763" y="3938618"/>
            <a:ext cx="0" cy="567823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8F0ACDD6-541D-4B57-AE1A-5AD521A09C6E}"/>
              </a:ext>
            </a:extLst>
          </p:cNvPr>
          <p:cNvSpPr/>
          <p:nvPr/>
        </p:nvSpPr>
        <p:spPr>
          <a:xfrm>
            <a:off x="8705378" y="3929814"/>
            <a:ext cx="720000" cy="23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ja-JP" altLang="en-US" sz="1000" dirty="0">
                <a:solidFill>
                  <a:sysClr val="windowText" lastClr="00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補助事業者</a:t>
            </a:r>
            <a:endParaRPr kumimoji="1" lang="en-US" altLang="ja-JP" sz="1000" dirty="0">
              <a:solidFill>
                <a:sysClr val="windowText" lastClr="00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5AEC482F-FFA4-4A90-A71D-CE8A6341AB79}"/>
              </a:ext>
            </a:extLst>
          </p:cNvPr>
          <p:cNvSpPr/>
          <p:nvPr/>
        </p:nvSpPr>
        <p:spPr>
          <a:xfrm>
            <a:off x="9047002" y="3635253"/>
            <a:ext cx="720000" cy="23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補助金交付</a:t>
            </a:r>
            <a:endParaRPr kumimoji="1"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A1DA919C-581F-496C-B469-939DF7647F85}"/>
              </a:ext>
            </a:extLst>
          </p:cNvPr>
          <p:cNvSpPr/>
          <p:nvPr/>
        </p:nvSpPr>
        <p:spPr>
          <a:xfrm>
            <a:off x="8999356" y="4214182"/>
            <a:ext cx="720000" cy="23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進捗報告</a:t>
            </a:r>
            <a:endParaRPr kumimoji="1"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53" name="直線コネクタ 52">
            <a:extLst>
              <a:ext uri="{FF2B5EF4-FFF2-40B4-BE49-F238E27FC236}">
                <a16:creationId xmlns:a16="http://schemas.microsoft.com/office/drawing/2014/main" id="{C0619FE8-A4A6-45FE-BDE0-62A2E596A7A2}"/>
              </a:ext>
            </a:extLst>
          </p:cNvPr>
          <p:cNvCxnSpPr>
            <a:cxnSpLocks/>
          </p:cNvCxnSpPr>
          <p:nvPr/>
        </p:nvCxnSpPr>
        <p:spPr>
          <a:xfrm>
            <a:off x="9059992" y="3536180"/>
            <a:ext cx="0" cy="39600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A080A7D3-8E22-4309-A12C-4889BE4E0688}"/>
              </a:ext>
            </a:extLst>
          </p:cNvPr>
          <p:cNvSpPr txBox="1"/>
          <p:nvPr/>
        </p:nvSpPr>
        <p:spPr bwMode="gray">
          <a:xfrm>
            <a:off x="8789992" y="3397744"/>
            <a:ext cx="540000" cy="180000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kumimoji="1" lang="ja-JP" altLang="en-US" sz="9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補助事業</a:t>
            </a:r>
            <a:endParaRPr kumimoji="1" lang="en-US" altLang="ja-JP" sz="9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22387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1">
      <a:majorFont>
        <a:latin typeface="Georgia"/>
        <a:ea typeface="HGP明朝B"/>
        <a:cs typeface=""/>
      </a:majorFont>
      <a:minorFont>
        <a:latin typeface="Arial"/>
        <a:ea typeface="ＭＳ Ｐゴシック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tlCol="0" anchor="ctr"/>
      <a:lstStyle>
        <a:defPPr algn="ctr">
          <a:lnSpc>
            <a:spcPct val="100000"/>
          </a:lnSpc>
          <a:defRPr kumimoji="1" sz="1400" dirty="0" smtClean="0">
            <a:solidFill>
              <a:schemeClr val="tx1"/>
            </a:solidFill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l">
          <a:defRPr kumimoji="1" sz="1400" b="0" smtClean="0">
            <a:solidFill>
              <a:schemeClr val="tx1"/>
            </a:solidFill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CCF45EB7-F9DF-47C5-AB85-48BC232BEAA9}" vid="{DFCB562E-E06E-4428-B9BF-980ED610BD28}"/>
    </a:ext>
  </a:extLst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游ゴシック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baf6f3-037f-47c4-8ce6-401f2145fe42">
      <Terms xmlns="http://schemas.microsoft.com/office/infopath/2007/PartnerControls"/>
    </lcf76f155ced4ddcb4097134ff3c332f>
    <TaxCatchAll xmlns="5f1cb31e-0878-4583-824f-77bbdf5ced5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710B91F3F4C8741B4980356BA13F24F" ma:contentTypeVersion="13" ma:contentTypeDescription="新しいドキュメントを作成します。" ma:contentTypeScope="" ma:versionID="371c07bc1f009aff4d92e927acb7398c">
  <xsd:schema xmlns:xsd="http://www.w3.org/2001/XMLSchema" xmlns:xs="http://www.w3.org/2001/XMLSchema" xmlns:p="http://schemas.microsoft.com/office/2006/metadata/properties" xmlns:ns2="15baf6f3-037f-47c4-8ce6-401f2145fe42" xmlns:ns3="5f1cb31e-0878-4583-824f-77bbdf5ced5f" targetNamespace="http://schemas.microsoft.com/office/2006/metadata/properties" ma:root="true" ma:fieldsID="4c143a26da35c8638e8b1d62de7f5745" ns2:_="" ns3:_="">
    <xsd:import namespace="15baf6f3-037f-47c4-8ce6-401f2145fe42"/>
    <xsd:import namespace="5f1cb31e-0878-4583-824f-77bbdf5ced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CR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baf6f3-037f-47c4-8ce6-401f2145fe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1cb31e-0878-4583-824f-77bbdf5ced5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da75fde-06fd-4f09-8d13-58ff50df841a}" ma:internalName="TaxCatchAll" ma:showField="CatchAllData" ma:web="5f1cb31e-0878-4583-824f-77bbdf5ced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DCC2495-8A4F-4BA0-A19C-91B77DC5E78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0180633-03E3-40B4-B06F-C40EFB9E2519}">
  <ds:schemaRefs>
    <ds:schemaRef ds:uri="http://schemas.microsoft.com/office/2006/documentManagement/types"/>
    <ds:schemaRef ds:uri="http://www.w3.org/XML/1998/namespace"/>
    <ds:schemaRef ds:uri="15baf6f3-037f-47c4-8ce6-401f2145fe42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5f1cb31e-0878-4583-824f-77bbdf5ced5f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61ADEB1-864A-48B3-A184-90C48CCC7050}">
  <ds:schemaRefs>
    <ds:schemaRef ds:uri="15baf6f3-037f-47c4-8ce6-401f2145fe42"/>
    <ds:schemaRef ds:uri="5f1cb31e-0878-4583-824f-77bbdf5ced5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99</TotalTime>
  <Words>501</Words>
  <Application>Microsoft Office PowerPoint</Application>
  <PresentationFormat>A4 210 x 297 mm</PresentationFormat>
  <Paragraphs>71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Meiryo UI</vt:lpstr>
      <vt:lpstr>游ゴシック</vt:lpstr>
      <vt:lpstr>游ゴシック Light</vt:lpstr>
      <vt:lpstr>Arial</vt:lpstr>
      <vt:lpstr>Georgia</vt:lpstr>
      <vt:lpstr>Wingdings</vt:lpstr>
      <vt:lpstr>PwC</vt:lpstr>
      <vt:lpstr>デザインの設定</vt:lpstr>
      <vt:lpstr>think-cell スライド</vt:lpstr>
      <vt:lpstr>PowerPoint プレゼンテーション</vt:lpstr>
    </vt:vector>
  </TitlesOfParts>
  <Company>内閣府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佐々木 琢磨（デジ田会議事務局）</dc:creator>
  <cp:lastModifiedBy>増井　悠</cp:lastModifiedBy>
  <cp:revision>219</cp:revision>
  <cp:lastPrinted>2025-06-13T08:38:18Z</cp:lastPrinted>
  <dcterms:created xsi:type="dcterms:W3CDTF">2023-11-01T11:03:49Z</dcterms:created>
  <dcterms:modified xsi:type="dcterms:W3CDTF">2025-06-17T23:1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10B91F3F4C8741B4980356BA13F24F</vt:lpwstr>
  </property>
  <property fmtid="{D5CDD505-2E9C-101B-9397-08002B2CF9AE}" pid="3" name="MediaServiceImageTags">
    <vt:lpwstr/>
  </property>
</Properties>
</file>